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147473054" r:id="rId3"/>
    <p:sldId id="2147473055" r:id="rId4"/>
    <p:sldId id="2147473056" r:id="rId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48" d="100"/>
          <a:sy n="48" d="100"/>
        </p:scale>
        <p:origin x="1574" y="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4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1B4519-95E3-F0F9-ABF2-B626D96C7F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B0B456-EAD4-F27F-6C09-3893D5A7DC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69171E-9F19-8A88-4B6A-4929D81105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F5053-C19A-4357-9890-FB17FFEC893C}" type="datetimeFigureOut">
              <a:rPr lang="de-DE" smtClean="0"/>
              <a:t>09.06.202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14B434-E968-7B82-80A4-2BA3EE353A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5E4F5C-BB83-12F4-AAF2-00D5451039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5CAAC-2C55-4EA6-95A1-32D72592A63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01868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68C10D-9C0A-09D1-EDB3-855F3B568A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9D15A8A-806B-957D-81AA-484ADD4DB0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BD7505-6051-B05F-CDCC-22B3C30483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F5053-C19A-4357-9890-FB17FFEC893C}" type="datetimeFigureOut">
              <a:rPr lang="de-DE" smtClean="0"/>
              <a:t>09.06.202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FA116A-2DE7-9E18-7FE7-10DD34877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2D9143-4B07-76CE-D9D6-CE31EFD2BC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5CAAC-2C55-4EA6-95A1-32D72592A63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05994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2194034-BB6B-5439-9240-B4BC349FDA3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2215552-BFA6-A573-16AC-18F35C3325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B6FA98-FA76-6F2C-5341-4AF34C98E4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F5053-C19A-4357-9890-FB17FFEC893C}" type="datetimeFigureOut">
              <a:rPr lang="de-DE" smtClean="0"/>
              <a:t>09.06.202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482D15-0681-91A1-E8AD-D4451E07C8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6CCD9E-9156-48F8-905C-1A91DF38B8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5CAAC-2C55-4EA6-95A1-32D72592A63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97691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Content_Small Margi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>
            <a:extLst>
              <a:ext uri="{FF2B5EF4-FFF2-40B4-BE49-F238E27FC236}">
                <a16:creationId xmlns:a16="http://schemas.microsoft.com/office/drawing/2014/main" id="{55D54CAA-5E60-4944-BFBC-1E566CB41E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9191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5" name="Object 44" hidden="1">
                        <a:extLst>
                          <a:ext uri="{FF2B5EF4-FFF2-40B4-BE49-F238E27FC236}">
                            <a16:creationId xmlns:a16="http://schemas.microsoft.com/office/drawing/2014/main" id="{55D54CAA-5E60-4944-BFBC-1E566CB41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7" name="Group 86">
            <a:extLst>
              <a:ext uri="{FF2B5EF4-FFF2-40B4-BE49-F238E27FC236}">
                <a16:creationId xmlns:a16="http://schemas.microsoft.com/office/drawing/2014/main" id="{432544EC-5AEE-49F6-913F-C0A4EB5F0DDE}"/>
              </a:ext>
            </a:extLst>
          </p:cNvPr>
          <p:cNvGrpSpPr/>
          <p:nvPr userDrawn="1"/>
        </p:nvGrpSpPr>
        <p:grpSpPr>
          <a:xfrm>
            <a:off x="-215887" y="-216000"/>
            <a:ext cx="12626237" cy="7290000"/>
            <a:chOff x="-215887" y="-216000"/>
            <a:chExt cx="12626237" cy="7290000"/>
          </a:xfrm>
        </p:grpSpPr>
        <p:cxnSp>
          <p:nvCxnSpPr>
            <p:cNvPr id="7" name="Gerade Verbindung 35">
              <a:extLst>
                <a:ext uri="{FF2B5EF4-FFF2-40B4-BE49-F238E27FC236}">
                  <a16:creationId xmlns:a16="http://schemas.microsoft.com/office/drawing/2014/main" id="{2AE41617-CAB6-412B-ABB8-A252BFB0B533}"/>
                </a:ext>
              </a:extLst>
            </p:cNvPr>
            <p:cNvCxnSpPr/>
            <p:nvPr userDrawn="1"/>
          </p:nvCxnSpPr>
          <p:spPr bwMode="auto">
            <a:xfrm>
              <a:off x="6024039" y="-216000"/>
              <a:ext cx="0" cy="180000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" name="Gerade Verbindung 36">
              <a:extLst>
                <a:ext uri="{FF2B5EF4-FFF2-40B4-BE49-F238E27FC236}">
                  <a16:creationId xmlns:a16="http://schemas.microsoft.com/office/drawing/2014/main" id="{25BAA90E-997A-4CE6-8462-E8F171DF8DF2}"/>
                </a:ext>
              </a:extLst>
            </p:cNvPr>
            <p:cNvCxnSpPr/>
            <p:nvPr userDrawn="1"/>
          </p:nvCxnSpPr>
          <p:spPr bwMode="auto">
            <a:xfrm>
              <a:off x="6167964" y="-216000"/>
              <a:ext cx="0" cy="180000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2">
              <a:extLst>
                <a:ext uri="{FF2B5EF4-FFF2-40B4-BE49-F238E27FC236}">
                  <a16:creationId xmlns:a16="http://schemas.microsoft.com/office/drawing/2014/main" id="{CDD9212C-0528-4DC4-831E-185D8F655C27}"/>
                </a:ext>
              </a:extLst>
            </p:cNvPr>
            <p:cNvCxnSpPr/>
            <p:nvPr userDrawn="1"/>
          </p:nvCxnSpPr>
          <p:spPr bwMode="auto">
            <a:xfrm>
              <a:off x="406875" y="-216000"/>
              <a:ext cx="0" cy="180000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38">
              <a:extLst>
                <a:ext uri="{FF2B5EF4-FFF2-40B4-BE49-F238E27FC236}">
                  <a16:creationId xmlns:a16="http://schemas.microsoft.com/office/drawing/2014/main" id="{9D159247-0FC2-47E0-92FB-9AD4247B6413}"/>
                </a:ext>
              </a:extLst>
            </p:cNvPr>
            <p:cNvCxnSpPr/>
            <p:nvPr userDrawn="1"/>
          </p:nvCxnSpPr>
          <p:spPr bwMode="auto">
            <a:xfrm>
              <a:off x="11785677" y="-216000"/>
              <a:ext cx="0" cy="180000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39">
              <a:extLst>
                <a:ext uri="{FF2B5EF4-FFF2-40B4-BE49-F238E27FC236}">
                  <a16:creationId xmlns:a16="http://schemas.microsoft.com/office/drawing/2014/main" id="{6D388216-4C8A-4849-953D-FEAD52556F57}"/>
                </a:ext>
              </a:extLst>
            </p:cNvPr>
            <p:cNvCxnSpPr/>
            <p:nvPr userDrawn="1"/>
          </p:nvCxnSpPr>
          <p:spPr bwMode="auto">
            <a:xfrm rot="5400000">
              <a:off x="12320396" y="387029"/>
              <a:ext cx="0" cy="179906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41">
              <a:extLst>
                <a:ext uri="{FF2B5EF4-FFF2-40B4-BE49-F238E27FC236}">
                  <a16:creationId xmlns:a16="http://schemas.microsoft.com/office/drawing/2014/main" id="{D510DD8F-988E-48ED-ADB4-C9C40B5825F4}"/>
                </a:ext>
              </a:extLst>
            </p:cNvPr>
            <p:cNvCxnSpPr/>
            <p:nvPr userDrawn="1"/>
          </p:nvCxnSpPr>
          <p:spPr bwMode="auto">
            <a:xfrm rot="5400000">
              <a:off x="12320396" y="1322466"/>
              <a:ext cx="0" cy="179906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44">
              <a:extLst>
                <a:ext uri="{FF2B5EF4-FFF2-40B4-BE49-F238E27FC236}">
                  <a16:creationId xmlns:a16="http://schemas.microsoft.com/office/drawing/2014/main" id="{8229C11A-83CF-4134-8256-B7F4824CD4DB}"/>
                </a:ext>
              </a:extLst>
            </p:cNvPr>
            <p:cNvCxnSpPr/>
            <p:nvPr userDrawn="1"/>
          </p:nvCxnSpPr>
          <p:spPr bwMode="auto">
            <a:xfrm rot="5400000">
              <a:off x="12320396" y="6074466"/>
              <a:ext cx="0" cy="179906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4">
              <a:extLst>
                <a:ext uri="{FF2B5EF4-FFF2-40B4-BE49-F238E27FC236}">
                  <a16:creationId xmlns:a16="http://schemas.microsoft.com/office/drawing/2014/main" id="{65408530-14A8-46BF-8B11-30EE7B97A329}"/>
                </a:ext>
              </a:extLst>
            </p:cNvPr>
            <p:cNvCxnSpPr/>
            <p:nvPr userDrawn="1"/>
          </p:nvCxnSpPr>
          <p:spPr bwMode="auto">
            <a:xfrm>
              <a:off x="406875" y="6894000"/>
              <a:ext cx="0" cy="180000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5">
              <a:extLst>
                <a:ext uri="{FF2B5EF4-FFF2-40B4-BE49-F238E27FC236}">
                  <a16:creationId xmlns:a16="http://schemas.microsoft.com/office/drawing/2014/main" id="{DD034015-33DF-4941-B9AC-CEF3190A75FB}"/>
                </a:ext>
              </a:extLst>
            </p:cNvPr>
            <p:cNvCxnSpPr/>
            <p:nvPr userDrawn="1"/>
          </p:nvCxnSpPr>
          <p:spPr bwMode="auto">
            <a:xfrm>
              <a:off x="11785677" y="6894000"/>
              <a:ext cx="0" cy="180000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6">
              <a:extLst>
                <a:ext uri="{FF2B5EF4-FFF2-40B4-BE49-F238E27FC236}">
                  <a16:creationId xmlns:a16="http://schemas.microsoft.com/office/drawing/2014/main" id="{3B88F865-AF62-45FC-ABE2-CDF62E3DE5ED}"/>
                </a:ext>
              </a:extLst>
            </p:cNvPr>
            <p:cNvCxnSpPr/>
            <p:nvPr userDrawn="1"/>
          </p:nvCxnSpPr>
          <p:spPr bwMode="auto">
            <a:xfrm rot="5400000">
              <a:off x="-121924" y="387034"/>
              <a:ext cx="0" cy="179906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8">
              <a:extLst>
                <a:ext uri="{FF2B5EF4-FFF2-40B4-BE49-F238E27FC236}">
                  <a16:creationId xmlns:a16="http://schemas.microsoft.com/office/drawing/2014/main" id="{5C72E352-2C78-44AF-926E-AECA3356F5E1}"/>
                </a:ext>
              </a:extLst>
            </p:cNvPr>
            <p:cNvCxnSpPr/>
            <p:nvPr userDrawn="1"/>
          </p:nvCxnSpPr>
          <p:spPr bwMode="auto">
            <a:xfrm rot="5400000">
              <a:off x="-121924" y="1322466"/>
              <a:ext cx="0" cy="179906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61">
              <a:extLst>
                <a:ext uri="{FF2B5EF4-FFF2-40B4-BE49-F238E27FC236}">
                  <a16:creationId xmlns:a16="http://schemas.microsoft.com/office/drawing/2014/main" id="{5E914B7B-2942-4231-8A1A-29B4197D3F1F}"/>
                </a:ext>
              </a:extLst>
            </p:cNvPr>
            <p:cNvCxnSpPr/>
            <p:nvPr userDrawn="1"/>
          </p:nvCxnSpPr>
          <p:spPr bwMode="auto">
            <a:xfrm rot="5400000">
              <a:off x="-121924" y="6074466"/>
              <a:ext cx="0" cy="179906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88">
              <a:extLst>
                <a:ext uri="{FF2B5EF4-FFF2-40B4-BE49-F238E27FC236}">
                  <a16:creationId xmlns:a16="http://schemas.microsoft.com/office/drawing/2014/main" id="{C2FC191A-2669-4BD1-A448-77CF934BEAD4}"/>
                </a:ext>
              </a:extLst>
            </p:cNvPr>
            <p:cNvCxnSpPr/>
            <p:nvPr userDrawn="1"/>
          </p:nvCxnSpPr>
          <p:spPr bwMode="auto">
            <a:xfrm rot="5400000">
              <a:off x="-121924" y="6508990"/>
              <a:ext cx="0" cy="179906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44">
              <a:extLst>
                <a:ext uri="{FF2B5EF4-FFF2-40B4-BE49-F238E27FC236}">
                  <a16:creationId xmlns:a16="http://schemas.microsoft.com/office/drawing/2014/main" id="{95424A7A-A535-4930-9836-63E66E2B89D2}"/>
                </a:ext>
              </a:extLst>
            </p:cNvPr>
            <p:cNvCxnSpPr/>
            <p:nvPr userDrawn="1"/>
          </p:nvCxnSpPr>
          <p:spPr bwMode="auto">
            <a:xfrm rot="5400000">
              <a:off x="12320396" y="6509605"/>
              <a:ext cx="0" cy="179906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41">
              <a:extLst>
                <a:ext uri="{FF2B5EF4-FFF2-40B4-BE49-F238E27FC236}">
                  <a16:creationId xmlns:a16="http://schemas.microsoft.com/office/drawing/2014/main" id="{193F4D49-6392-4BED-8284-E8FD2D980658}"/>
                </a:ext>
              </a:extLst>
            </p:cNvPr>
            <p:cNvCxnSpPr/>
            <p:nvPr userDrawn="1"/>
          </p:nvCxnSpPr>
          <p:spPr bwMode="auto">
            <a:xfrm rot="5400000">
              <a:off x="12320396" y="962545"/>
              <a:ext cx="0" cy="179906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55">
              <a:extLst>
                <a:ext uri="{FF2B5EF4-FFF2-40B4-BE49-F238E27FC236}">
                  <a16:creationId xmlns:a16="http://schemas.microsoft.com/office/drawing/2014/main" id="{46CBF01A-0421-4336-A575-096C60A173EF}"/>
                </a:ext>
              </a:extLst>
            </p:cNvPr>
            <p:cNvCxnSpPr/>
            <p:nvPr userDrawn="1"/>
          </p:nvCxnSpPr>
          <p:spPr bwMode="auto">
            <a:xfrm>
              <a:off x="10273520" y="6894000"/>
              <a:ext cx="0" cy="180000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58">
              <a:extLst>
                <a:ext uri="{FF2B5EF4-FFF2-40B4-BE49-F238E27FC236}">
                  <a16:creationId xmlns:a16="http://schemas.microsoft.com/office/drawing/2014/main" id="{131E2EAC-B349-4AD0-8215-3614F528FAB9}"/>
                </a:ext>
              </a:extLst>
            </p:cNvPr>
            <p:cNvCxnSpPr/>
            <p:nvPr userDrawn="1"/>
          </p:nvCxnSpPr>
          <p:spPr bwMode="auto">
            <a:xfrm rot="5400000">
              <a:off x="-121924" y="961766"/>
              <a:ext cx="0" cy="179906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61">
              <a:extLst>
                <a:ext uri="{FF2B5EF4-FFF2-40B4-BE49-F238E27FC236}">
                  <a16:creationId xmlns:a16="http://schemas.microsoft.com/office/drawing/2014/main" id="{C86C83D3-51B6-4114-9658-FD3D29E9A120}"/>
                </a:ext>
              </a:extLst>
            </p:cNvPr>
            <p:cNvCxnSpPr/>
            <p:nvPr userDrawn="1"/>
          </p:nvCxnSpPr>
          <p:spPr bwMode="auto">
            <a:xfrm rot="5400000">
              <a:off x="-125934" y="5716547"/>
              <a:ext cx="0" cy="179906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55">
              <a:extLst>
                <a:ext uri="{FF2B5EF4-FFF2-40B4-BE49-F238E27FC236}">
                  <a16:creationId xmlns:a16="http://schemas.microsoft.com/office/drawing/2014/main" id="{71C58B49-9F32-439A-9990-397B858E7881}"/>
                </a:ext>
              </a:extLst>
            </p:cNvPr>
            <p:cNvCxnSpPr/>
            <p:nvPr userDrawn="1"/>
          </p:nvCxnSpPr>
          <p:spPr bwMode="auto">
            <a:xfrm>
              <a:off x="10273520" y="-216000"/>
              <a:ext cx="0" cy="180000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44">
              <a:extLst>
                <a:ext uri="{FF2B5EF4-FFF2-40B4-BE49-F238E27FC236}">
                  <a16:creationId xmlns:a16="http://schemas.microsoft.com/office/drawing/2014/main" id="{366543E0-B53E-4940-A6BA-555C24F7FA51}"/>
                </a:ext>
              </a:extLst>
            </p:cNvPr>
            <p:cNvCxnSpPr/>
            <p:nvPr userDrawn="1"/>
          </p:nvCxnSpPr>
          <p:spPr bwMode="auto">
            <a:xfrm rot="5400000">
              <a:off x="12320397" y="5716547"/>
              <a:ext cx="0" cy="179906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35">
              <a:extLst>
                <a:ext uri="{FF2B5EF4-FFF2-40B4-BE49-F238E27FC236}">
                  <a16:creationId xmlns:a16="http://schemas.microsoft.com/office/drawing/2014/main" id="{0463D05E-8B66-4DFF-870A-3A319FF8AA6D}"/>
                </a:ext>
              </a:extLst>
            </p:cNvPr>
            <p:cNvCxnSpPr/>
            <p:nvPr userDrawn="1"/>
          </p:nvCxnSpPr>
          <p:spPr bwMode="auto">
            <a:xfrm>
              <a:off x="6024039" y="6894000"/>
              <a:ext cx="0" cy="180000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36">
              <a:extLst>
                <a:ext uri="{FF2B5EF4-FFF2-40B4-BE49-F238E27FC236}">
                  <a16:creationId xmlns:a16="http://schemas.microsoft.com/office/drawing/2014/main" id="{FEEB01B6-799D-4E57-9757-C22EB81AFCE4}"/>
                </a:ext>
              </a:extLst>
            </p:cNvPr>
            <p:cNvCxnSpPr/>
            <p:nvPr userDrawn="1"/>
          </p:nvCxnSpPr>
          <p:spPr bwMode="auto">
            <a:xfrm>
              <a:off x="6167964" y="6894000"/>
              <a:ext cx="0" cy="180000"/>
            </a:xfrm>
            <a:prstGeom prst="line">
              <a:avLst/>
            </a:prstGeom>
            <a:solidFill>
              <a:srgbClr val="000028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99" name="Siemens Logo">
            <a:extLst>
              <a:ext uri="{FF2B5EF4-FFF2-40B4-BE49-F238E27FC236}">
                <a16:creationId xmlns:a16="http://schemas.microsoft.com/office/drawing/2014/main" id="{2DEBFD6E-CBFE-4C13-B89E-039EDEB81CE9}"/>
              </a:ext>
            </a:extLst>
          </p:cNvPr>
          <p:cNvGrpSpPr/>
          <p:nvPr userDrawn="1"/>
        </p:nvGrpSpPr>
        <p:grpSpPr>
          <a:xfrm>
            <a:off x="10635188" y="6418800"/>
            <a:ext cx="1152000" cy="183168"/>
            <a:chOff x="10635188" y="6418800"/>
            <a:chExt cx="1152000" cy="183168"/>
          </a:xfrm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4DAA4A14-CC27-4AB6-A9B3-D54438AF54BF}"/>
                </a:ext>
              </a:extLst>
            </p:cNvPr>
            <p:cNvSpPr/>
            <p:nvPr/>
          </p:nvSpPr>
          <p:spPr>
            <a:xfrm>
              <a:off x="10635188" y="6418800"/>
              <a:ext cx="1152000" cy="183168"/>
            </a:xfrm>
            <a:custGeom>
              <a:avLst/>
              <a:gdLst>
                <a:gd name="connsiteX0" fmla="*/ 0 w 1152000"/>
                <a:gd name="connsiteY0" fmla="*/ 183168 h 183168"/>
                <a:gd name="connsiteX1" fmla="*/ 1152000 w 1152000"/>
                <a:gd name="connsiteY1" fmla="*/ 183168 h 183168"/>
                <a:gd name="connsiteX2" fmla="*/ 1152000 w 1152000"/>
                <a:gd name="connsiteY2" fmla="*/ 0 h 183168"/>
                <a:gd name="connsiteX3" fmla="*/ 0 w 1152000"/>
                <a:gd name="connsiteY3" fmla="*/ 0 h 183168"/>
                <a:gd name="connsiteX4" fmla="*/ 0 w 1152000"/>
                <a:gd name="connsiteY4" fmla="*/ 0 h 183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2000" h="183168">
                  <a:moveTo>
                    <a:pt x="0" y="183168"/>
                  </a:moveTo>
                  <a:lnTo>
                    <a:pt x="1152000" y="183168"/>
                  </a:lnTo>
                  <a:lnTo>
                    <a:pt x="115200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1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01" name="Siemens Logo">
              <a:extLst>
                <a:ext uri="{FF2B5EF4-FFF2-40B4-BE49-F238E27FC236}">
                  <a16:creationId xmlns:a16="http://schemas.microsoft.com/office/drawing/2014/main" id="{9CB46860-DD92-4671-BF8C-3CFF9B4AB937}"/>
                </a:ext>
              </a:extLst>
            </p:cNvPr>
            <p:cNvGrpSpPr/>
            <p:nvPr/>
          </p:nvGrpSpPr>
          <p:grpSpPr>
            <a:xfrm>
              <a:off x="10635188" y="6418864"/>
              <a:ext cx="1152000" cy="182041"/>
              <a:chOff x="10635188" y="6418864"/>
              <a:chExt cx="1152000" cy="182041"/>
            </a:xfrm>
            <a:solidFill>
              <a:srgbClr val="009999"/>
            </a:solidFill>
          </p:grpSpPr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92702F9A-3554-4079-8127-5A3053FC919E}"/>
                  </a:ext>
                </a:extLst>
              </p:cNvPr>
              <p:cNvSpPr/>
              <p:nvPr/>
            </p:nvSpPr>
            <p:spPr>
              <a:xfrm>
                <a:off x="10635188" y="6418865"/>
                <a:ext cx="134828" cy="182040"/>
              </a:xfrm>
              <a:custGeom>
                <a:avLst/>
                <a:gdLst>
                  <a:gd name="connsiteX0" fmla="*/ 3555 w 134828"/>
                  <a:gd name="connsiteY0" fmla="*/ 175657 h 182040"/>
                  <a:gd name="connsiteX1" fmla="*/ 3555 w 134828"/>
                  <a:gd name="connsiteY1" fmla="*/ 141008 h 182040"/>
                  <a:gd name="connsiteX2" fmla="*/ 55907 w 134828"/>
                  <a:gd name="connsiteY2" fmla="*/ 150319 h 182040"/>
                  <a:gd name="connsiteX3" fmla="*/ 87346 w 134828"/>
                  <a:gd name="connsiteY3" fmla="*/ 133707 h 182040"/>
                  <a:gd name="connsiteX4" fmla="*/ 82763 w 134828"/>
                  <a:gd name="connsiteY4" fmla="*/ 123302 h 182040"/>
                  <a:gd name="connsiteX5" fmla="*/ 58761 w 134828"/>
                  <a:gd name="connsiteY5" fmla="*/ 110902 h 182040"/>
                  <a:gd name="connsiteX6" fmla="*/ 13614 w 134828"/>
                  <a:gd name="connsiteY6" fmla="*/ 86615 h 182040"/>
                  <a:gd name="connsiteX7" fmla="*/ 0 w 134828"/>
                  <a:gd name="connsiteY7" fmla="*/ 53159 h 182040"/>
                  <a:gd name="connsiteX8" fmla="*/ 19828 w 134828"/>
                  <a:gd name="connsiteY8" fmla="*/ 13505 h 182040"/>
                  <a:gd name="connsiteX9" fmla="*/ 70910 w 134828"/>
                  <a:gd name="connsiteY9" fmla="*/ 0 h 182040"/>
                  <a:gd name="connsiteX10" fmla="*/ 121118 w 134828"/>
                  <a:gd name="connsiteY10" fmla="*/ 6392 h 182040"/>
                  <a:gd name="connsiteX11" fmla="*/ 121118 w 134828"/>
                  <a:gd name="connsiteY11" fmla="*/ 39723 h 182040"/>
                  <a:gd name="connsiteX12" fmla="*/ 75726 w 134828"/>
                  <a:gd name="connsiteY12" fmla="*/ 29967 h 182040"/>
                  <a:gd name="connsiteX13" fmla="*/ 46210 w 134828"/>
                  <a:gd name="connsiteY13" fmla="*/ 46200 h 182040"/>
                  <a:gd name="connsiteX14" fmla="*/ 52160 w 134828"/>
                  <a:gd name="connsiteY14" fmla="*/ 56109 h 182040"/>
                  <a:gd name="connsiteX15" fmla="*/ 79422 w 134828"/>
                  <a:gd name="connsiteY15" fmla="*/ 69249 h 182040"/>
                  <a:gd name="connsiteX16" fmla="*/ 122182 w 134828"/>
                  <a:gd name="connsiteY16" fmla="*/ 94050 h 182040"/>
                  <a:gd name="connsiteX17" fmla="*/ 134829 w 134828"/>
                  <a:gd name="connsiteY17" fmla="*/ 126403 h 182040"/>
                  <a:gd name="connsiteX18" fmla="*/ 110037 w 134828"/>
                  <a:gd name="connsiteY18" fmla="*/ 169904 h 182040"/>
                  <a:gd name="connsiteX19" fmla="*/ 57969 w 134828"/>
                  <a:gd name="connsiteY19" fmla="*/ 182040 h 182040"/>
                  <a:gd name="connsiteX20" fmla="*/ 3555 w 134828"/>
                  <a:gd name="connsiteY20" fmla="*/ 175657 h 182040"/>
                  <a:gd name="connsiteX21" fmla="*/ 3555 w 134828"/>
                  <a:gd name="connsiteY21" fmla="*/ 175657 h 182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4828" h="182040">
                    <a:moveTo>
                      <a:pt x="3555" y="175657"/>
                    </a:moveTo>
                    <a:lnTo>
                      <a:pt x="3555" y="141008"/>
                    </a:lnTo>
                    <a:cubicBezTo>
                      <a:pt x="23276" y="147215"/>
                      <a:pt x="40727" y="150319"/>
                      <a:pt x="55907" y="150319"/>
                    </a:cubicBezTo>
                    <a:cubicBezTo>
                      <a:pt x="76865" y="150319"/>
                      <a:pt x="87346" y="144779"/>
                      <a:pt x="87346" y="133707"/>
                    </a:cubicBezTo>
                    <a:cubicBezTo>
                      <a:pt x="87346" y="129579"/>
                      <a:pt x="85821" y="126111"/>
                      <a:pt x="82763" y="123302"/>
                    </a:cubicBezTo>
                    <a:cubicBezTo>
                      <a:pt x="79637" y="120323"/>
                      <a:pt x="71629" y="116193"/>
                      <a:pt x="58761" y="110902"/>
                    </a:cubicBezTo>
                    <a:cubicBezTo>
                      <a:pt x="35673" y="101408"/>
                      <a:pt x="20617" y="93312"/>
                      <a:pt x="13614" y="86615"/>
                    </a:cubicBezTo>
                    <a:cubicBezTo>
                      <a:pt x="4538" y="77776"/>
                      <a:pt x="0" y="66629"/>
                      <a:pt x="0" y="53159"/>
                    </a:cubicBezTo>
                    <a:cubicBezTo>
                      <a:pt x="0" y="35812"/>
                      <a:pt x="6612" y="22591"/>
                      <a:pt x="19828" y="13505"/>
                    </a:cubicBezTo>
                    <a:cubicBezTo>
                      <a:pt x="32898" y="4499"/>
                      <a:pt x="49916" y="0"/>
                      <a:pt x="70910" y="0"/>
                    </a:cubicBezTo>
                    <a:cubicBezTo>
                      <a:pt x="82477" y="0"/>
                      <a:pt x="99219" y="2129"/>
                      <a:pt x="121118" y="6392"/>
                    </a:cubicBezTo>
                    <a:lnTo>
                      <a:pt x="121118" y="39723"/>
                    </a:lnTo>
                    <a:cubicBezTo>
                      <a:pt x="104824" y="33214"/>
                      <a:pt x="89699" y="29967"/>
                      <a:pt x="75726" y="29967"/>
                    </a:cubicBezTo>
                    <a:cubicBezTo>
                      <a:pt x="56048" y="29967"/>
                      <a:pt x="46210" y="35370"/>
                      <a:pt x="46210" y="46200"/>
                    </a:cubicBezTo>
                    <a:cubicBezTo>
                      <a:pt x="46210" y="50248"/>
                      <a:pt x="48192" y="53550"/>
                      <a:pt x="52160" y="56109"/>
                    </a:cubicBezTo>
                    <a:cubicBezTo>
                      <a:pt x="55461" y="58181"/>
                      <a:pt x="64555" y="62556"/>
                      <a:pt x="79422" y="69249"/>
                    </a:cubicBezTo>
                    <a:cubicBezTo>
                      <a:pt x="100830" y="78756"/>
                      <a:pt x="115081" y="87021"/>
                      <a:pt x="122182" y="94050"/>
                    </a:cubicBezTo>
                    <a:cubicBezTo>
                      <a:pt x="130608" y="102389"/>
                      <a:pt x="134829" y="113178"/>
                      <a:pt x="134829" y="126403"/>
                    </a:cubicBezTo>
                    <a:cubicBezTo>
                      <a:pt x="134829" y="145412"/>
                      <a:pt x="126561" y="159913"/>
                      <a:pt x="110037" y="169904"/>
                    </a:cubicBezTo>
                    <a:cubicBezTo>
                      <a:pt x="96649" y="178006"/>
                      <a:pt x="79290" y="182040"/>
                      <a:pt x="57969" y="182040"/>
                    </a:cubicBezTo>
                    <a:cubicBezTo>
                      <a:pt x="39963" y="182040"/>
                      <a:pt x="21821" y="179919"/>
                      <a:pt x="3555" y="175657"/>
                    </a:cubicBezTo>
                    <a:lnTo>
                      <a:pt x="3555" y="175657"/>
                    </a:lnTo>
                    <a:close/>
                  </a:path>
                </a:pathLst>
              </a:custGeom>
              <a:solidFill>
                <a:srgbClr val="000000"/>
              </a:solidFill>
              <a:ln w="11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6C5C2E64-B686-4966-93FA-984B7CB2046D}"/>
                  </a:ext>
                </a:extLst>
              </p:cNvPr>
              <p:cNvSpPr/>
              <p:nvPr/>
            </p:nvSpPr>
            <p:spPr>
              <a:xfrm>
                <a:off x="10797692" y="6421915"/>
                <a:ext cx="49006" cy="175446"/>
              </a:xfrm>
              <a:custGeom>
                <a:avLst/>
                <a:gdLst>
                  <a:gd name="connsiteX0" fmla="*/ 0 w 49006"/>
                  <a:gd name="connsiteY0" fmla="*/ 0 h 175446"/>
                  <a:gd name="connsiteX1" fmla="*/ 0 w 49006"/>
                  <a:gd name="connsiteY1" fmla="*/ 0 h 175446"/>
                  <a:gd name="connsiteX2" fmla="*/ 49006 w 49006"/>
                  <a:gd name="connsiteY2" fmla="*/ 0 h 175446"/>
                  <a:gd name="connsiteX3" fmla="*/ 49006 w 49006"/>
                  <a:gd name="connsiteY3" fmla="*/ 175446 h 175446"/>
                  <a:gd name="connsiteX4" fmla="*/ 0 w 49006"/>
                  <a:gd name="connsiteY4" fmla="*/ 175446 h 175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006" h="175446">
                    <a:moveTo>
                      <a:pt x="0" y="0"/>
                    </a:moveTo>
                    <a:lnTo>
                      <a:pt x="0" y="0"/>
                    </a:lnTo>
                    <a:lnTo>
                      <a:pt x="49006" y="0"/>
                    </a:lnTo>
                    <a:lnTo>
                      <a:pt x="49006" y="175446"/>
                    </a:lnTo>
                    <a:lnTo>
                      <a:pt x="0" y="175446"/>
                    </a:lnTo>
                    <a:close/>
                  </a:path>
                </a:pathLst>
              </a:custGeom>
              <a:solidFill>
                <a:srgbClr val="000000"/>
              </a:solidFill>
              <a:ln w="11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39ED1ACC-08A5-4A0E-B234-FF0C0862F7F9}"/>
                  </a:ext>
                </a:extLst>
              </p:cNvPr>
              <p:cNvSpPr/>
              <p:nvPr/>
            </p:nvSpPr>
            <p:spPr>
              <a:xfrm>
                <a:off x="10891641" y="6421915"/>
                <a:ext cx="127710" cy="175446"/>
              </a:xfrm>
              <a:custGeom>
                <a:avLst/>
                <a:gdLst>
                  <a:gd name="connsiteX0" fmla="*/ 0 w 127710"/>
                  <a:gd name="connsiteY0" fmla="*/ 175446 h 175446"/>
                  <a:gd name="connsiteX1" fmla="*/ 0 w 127710"/>
                  <a:gd name="connsiteY1" fmla="*/ 0 h 175446"/>
                  <a:gd name="connsiteX2" fmla="*/ 125689 w 127710"/>
                  <a:gd name="connsiteY2" fmla="*/ 0 h 175446"/>
                  <a:gd name="connsiteX3" fmla="*/ 125689 w 127710"/>
                  <a:gd name="connsiteY3" fmla="*/ 31733 h 175446"/>
                  <a:gd name="connsiteX4" fmla="*/ 47232 w 127710"/>
                  <a:gd name="connsiteY4" fmla="*/ 31733 h 175446"/>
                  <a:gd name="connsiteX5" fmla="*/ 47232 w 127710"/>
                  <a:gd name="connsiteY5" fmla="*/ 71349 h 175446"/>
                  <a:gd name="connsiteX6" fmla="*/ 115525 w 127710"/>
                  <a:gd name="connsiteY6" fmla="*/ 71349 h 175446"/>
                  <a:gd name="connsiteX7" fmla="*/ 115525 w 127710"/>
                  <a:gd name="connsiteY7" fmla="*/ 100294 h 175446"/>
                  <a:gd name="connsiteX8" fmla="*/ 47232 w 127710"/>
                  <a:gd name="connsiteY8" fmla="*/ 100294 h 175446"/>
                  <a:gd name="connsiteX9" fmla="*/ 47232 w 127710"/>
                  <a:gd name="connsiteY9" fmla="*/ 141929 h 175446"/>
                  <a:gd name="connsiteX10" fmla="*/ 127711 w 127710"/>
                  <a:gd name="connsiteY10" fmla="*/ 141929 h 175446"/>
                  <a:gd name="connsiteX11" fmla="*/ 127711 w 127710"/>
                  <a:gd name="connsiteY11" fmla="*/ 175446 h 175446"/>
                  <a:gd name="connsiteX12" fmla="*/ 0 w 127710"/>
                  <a:gd name="connsiteY12" fmla="*/ 175446 h 175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27710" h="175446">
                    <a:moveTo>
                      <a:pt x="0" y="175446"/>
                    </a:moveTo>
                    <a:lnTo>
                      <a:pt x="0" y="0"/>
                    </a:lnTo>
                    <a:lnTo>
                      <a:pt x="125689" y="0"/>
                    </a:lnTo>
                    <a:lnTo>
                      <a:pt x="125689" y="31733"/>
                    </a:lnTo>
                    <a:lnTo>
                      <a:pt x="47232" y="31733"/>
                    </a:lnTo>
                    <a:lnTo>
                      <a:pt x="47232" y="71349"/>
                    </a:lnTo>
                    <a:lnTo>
                      <a:pt x="115525" y="71349"/>
                    </a:lnTo>
                    <a:lnTo>
                      <a:pt x="115525" y="100294"/>
                    </a:lnTo>
                    <a:lnTo>
                      <a:pt x="47232" y="100294"/>
                    </a:lnTo>
                    <a:lnTo>
                      <a:pt x="47232" y="141929"/>
                    </a:lnTo>
                    <a:lnTo>
                      <a:pt x="127711" y="141929"/>
                    </a:lnTo>
                    <a:lnTo>
                      <a:pt x="127711" y="175446"/>
                    </a:lnTo>
                    <a:lnTo>
                      <a:pt x="0" y="175446"/>
                    </a:lnTo>
                    <a:close/>
                  </a:path>
                </a:pathLst>
              </a:custGeom>
              <a:solidFill>
                <a:srgbClr val="000000"/>
              </a:solidFill>
              <a:ln w="11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99C43271-0B84-4EA6-9034-2EA326A0C84B}"/>
                  </a:ext>
                </a:extLst>
              </p:cNvPr>
              <p:cNvSpPr/>
              <p:nvPr/>
            </p:nvSpPr>
            <p:spPr>
              <a:xfrm>
                <a:off x="11051344" y="6421915"/>
                <a:ext cx="213284" cy="177227"/>
              </a:xfrm>
              <a:custGeom>
                <a:avLst/>
                <a:gdLst>
                  <a:gd name="connsiteX0" fmla="*/ 0 w 213284"/>
                  <a:gd name="connsiteY0" fmla="*/ 175446 h 177227"/>
                  <a:gd name="connsiteX1" fmla="*/ 0 w 213284"/>
                  <a:gd name="connsiteY1" fmla="*/ 0 h 177227"/>
                  <a:gd name="connsiteX2" fmla="*/ 63539 w 213284"/>
                  <a:gd name="connsiteY2" fmla="*/ 0 h 177227"/>
                  <a:gd name="connsiteX3" fmla="*/ 107682 w 213284"/>
                  <a:gd name="connsiteY3" fmla="*/ 112102 h 177227"/>
                  <a:gd name="connsiteX4" fmla="*/ 152933 w 213284"/>
                  <a:gd name="connsiteY4" fmla="*/ 0 h 177227"/>
                  <a:gd name="connsiteX5" fmla="*/ 213285 w 213284"/>
                  <a:gd name="connsiteY5" fmla="*/ 0 h 177227"/>
                  <a:gd name="connsiteX6" fmla="*/ 213285 w 213284"/>
                  <a:gd name="connsiteY6" fmla="*/ 175446 h 177227"/>
                  <a:gd name="connsiteX7" fmla="*/ 166820 w 213284"/>
                  <a:gd name="connsiteY7" fmla="*/ 175446 h 177227"/>
                  <a:gd name="connsiteX8" fmla="*/ 166820 w 213284"/>
                  <a:gd name="connsiteY8" fmla="*/ 51226 h 177227"/>
                  <a:gd name="connsiteX9" fmla="*/ 115367 w 213284"/>
                  <a:gd name="connsiteY9" fmla="*/ 177227 h 177227"/>
                  <a:gd name="connsiteX10" fmla="*/ 84990 w 213284"/>
                  <a:gd name="connsiteY10" fmla="*/ 177227 h 177227"/>
                  <a:gd name="connsiteX11" fmla="*/ 34528 w 213284"/>
                  <a:gd name="connsiteY11" fmla="*/ 51226 h 177227"/>
                  <a:gd name="connsiteX12" fmla="*/ 34528 w 213284"/>
                  <a:gd name="connsiteY12" fmla="*/ 175446 h 177227"/>
                  <a:gd name="connsiteX13" fmla="*/ 0 w 213284"/>
                  <a:gd name="connsiteY13" fmla="*/ 175446 h 177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3284" h="177227">
                    <a:moveTo>
                      <a:pt x="0" y="175446"/>
                    </a:moveTo>
                    <a:lnTo>
                      <a:pt x="0" y="0"/>
                    </a:lnTo>
                    <a:lnTo>
                      <a:pt x="63539" y="0"/>
                    </a:lnTo>
                    <a:lnTo>
                      <a:pt x="107682" y="112102"/>
                    </a:lnTo>
                    <a:lnTo>
                      <a:pt x="152933" y="0"/>
                    </a:lnTo>
                    <a:lnTo>
                      <a:pt x="213285" y="0"/>
                    </a:lnTo>
                    <a:lnTo>
                      <a:pt x="213285" y="175446"/>
                    </a:lnTo>
                    <a:lnTo>
                      <a:pt x="166820" y="175446"/>
                    </a:lnTo>
                    <a:lnTo>
                      <a:pt x="166820" y="51226"/>
                    </a:lnTo>
                    <a:lnTo>
                      <a:pt x="115367" y="177227"/>
                    </a:lnTo>
                    <a:lnTo>
                      <a:pt x="84990" y="177227"/>
                    </a:lnTo>
                    <a:lnTo>
                      <a:pt x="34528" y="51226"/>
                    </a:lnTo>
                    <a:lnTo>
                      <a:pt x="34528" y="175446"/>
                    </a:lnTo>
                    <a:lnTo>
                      <a:pt x="0" y="175446"/>
                    </a:lnTo>
                    <a:close/>
                  </a:path>
                </a:pathLst>
              </a:custGeom>
              <a:solidFill>
                <a:srgbClr val="000000"/>
              </a:solidFill>
              <a:ln w="11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CD201EE1-07F4-454A-A830-4E17E66BCC74}"/>
                  </a:ext>
                </a:extLst>
              </p:cNvPr>
              <p:cNvSpPr/>
              <p:nvPr/>
            </p:nvSpPr>
            <p:spPr>
              <a:xfrm>
                <a:off x="11309581" y="6421915"/>
                <a:ext cx="127721" cy="175446"/>
              </a:xfrm>
              <a:custGeom>
                <a:avLst/>
                <a:gdLst>
                  <a:gd name="connsiteX0" fmla="*/ 0 w 127721"/>
                  <a:gd name="connsiteY0" fmla="*/ 175446 h 175446"/>
                  <a:gd name="connsiteX1" fmla="*/ 0 w 127721"/>
                  <a:gd name="connsiteY1" fmla="*/ 0 h 175446"/>
                  <a:gd name="connsiteX2" fmla="*/ 125687 w 127721"/>
                  <a:gd name="connsiteY2" fmla="*/ 0 h 175446"/>
                  <a:gd name="connsiteX3" fmla="*/ 125687 w 127721"/>
                  <a:gd name="connsiteY3" fmla="*/ 31733 h 175446"/>
                  <a:gd name="connsiteX4" fmla="*/ 47237 w 127721"/>
                  <a:gd name="connsiteY4" fmla="*/ 31733 h 175446"/>
                  <a:gd name="connsiteX5" fmla="*/ 47237 w 127721"/>
                  <a:gd name="connsiteY5" fmla="*/ 71349 h 175446"/>
                  <a:gd name="connsiteX6" fmla="*/ 115527 w 127721"/>
                  <a:gd name="connsiteY6" fmla="*/ 71349 h 175446"/>
                  <a:gd name="connsiteX7" fmla="*/ 115527 w 127721"/>
                  <a:gd name="connsiteY7" fmla="*/ 100294 h 175446"/>
                  <a:gd name="connsiteX8" fmla="*/ 47237 w 127721"/>
                  <a:gd name="connsiteY8" fmla="*/ 100294 h 175446"/>
                  <a:gd name="connsiteX9" fmla="*/ 47237 w 127721"/>
                  <a:gd name="connsiteY9" fmla="*/ 141929 h 175446"/>
                  <a:gd name="connsiteX10" fmla="*/ 127721 w 127721"/>
                  <a:gd name="connsiteY10" fmla="*/ 141929 h 175446"/>
                  <a:gd name="connsiteX11" fmla="*/ 127721 w 127721"/>
                  <a:gd name="connsiteY11" fmla="*/ 175446 h 175446"/>
                  <a:gd name="connsiteX12" fmla="*/ 0 w 127721"/>
                  <a:gd name="connsiteY12" fmla="*/ 175446 h 175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27721" h="175446">
                    <a:moveTo>
                      <a:pt x="0" y="175446"/>
                    </a:moveTo>
                    <a:lnTo>
                      <a:pt x="0" y="0"/>
                    </a:lnTo>
                    <a:lnTo>
                      <a:pt x="125687" y="0"/>
                    </a:lnTo>
                    <a:lnTo>
                      <a:pt x="125687" y="31733"/>
                    </a:lnTo>
                    <a:lnTo>
                      <a:pt x="47237" y="31733"/>
                    </a:lnTo>
                    <a:lnTo>
                      <a:pt x="47237" y="71349"/>
                    </a:lnTo>
                    <a:lnTo>
                      <a:pt x="115527" y="71349"/>
                    </a:lnTo>
                    <a:lnTo>
                      <a:pt x="115527" y="100294"/>
                    </a:lnTo>
                    <a:lnTo>
                      <a:pt x="47237" y="100294"/>
                    </a:lnTo>
                    <a:lnTo>
                      <a:pt x="47237" y="141929"/>
                    </a:lnTo>
                    <a:lnTo>
                      <a:pt x="127721" y="141929"/>
                    </a:lnTo>
                    <a:lnTo>
                      <a:pt x="127721" y="175446"/>
                    </a:lnTo>
                    <a:lnTo>
                      <a:pt x="0" y="175446"/>
                    </a:lnTo>
                    <a:close/>
                  </a:path>
                </a:pathLst>
              </a:custGeom>
              <a:solidFill>
                <a:srgbClr val="000000"/>
              </a:solidFill>
              <a:ln w="11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929F49F8-8D62-4074-A149-74C6C63356BB}"/>
                  </a:ext>
                </a:extLst>
              </p:cNvPr>
              <p:cNvSpPr/>
              <p:nvPr/>
            </p:nvSpPr>
            <p:spPr>
              <a:xfrm>
                <a:off x="11469548" y="6421915"/>
                <a:ext cx="151575" cy="175446"/>
              </a:xfrm>
              <a:custGeom>
                <a:avLst/>
                <a:gdLst>
                  <a:gd name="connsiteX0" fmla="*/ 0 w 151575"/>
                  <a:gd name="connsiteY0" fmla="*/ 175446 h 175446"/>
                  <a:gd name="connsiteX1" fmla="*/ 0 w 151575"/>
                  <a:gd name="connsiteY1" fmla="*/ 0 h 175446"/>
                  <a:gd name="connsiteX2" fmla="*/ 56798 w 151575"/>
                  <a:gd name="connsiteY2" fmla="*/ 0 h 175446"/>
                  <a:gd name="connsiteX3" fmla="*/ 117057 w 151575"/>
                  <a:gd name="connsiteY3" fmla="*/ 117448 h 175446"/>
                  <a:gd name="connsiteX4" fmla="*/ 117057 w 151575"/>
                  <a:gd name="connsiteY4" fmla="*/ 0 h 175446"/>
                  <a:gd name="connsiteX5" fmla="*/ 151576 w 151575"/>
                  <a:gd name="connsiteY5" fmla="*/ 0 h 175446"/>
                  <a:gd name="connsiteX6" fmla="*/ 151576 w 151575"/>
                  <a:gd name="connsiteY6" fmla="*/ 175446 h 175446"/>
                  <a:gd name="connsiteX7" fmla="*/ 96390 w 151575"/>
                  <a:gd name="connsiteY7" fmla="*/ 175446 h 175446"/>
                  <a:gd name="connsiteX8" fmla="*/ 34532 w 151575"/>
                  <a:gd name="connsiteY8" fmla="*/ 56418 h 175446"/>
                  <a:gd name="connsiteX9" fmla="*/ 34532 w 151575"/>
                  <a:gd name="connsiteY9" fmla="*/ 175446 h 175446"/>
                  <a:gd name="connsiteX10" fmla="*/ 0 w 151575"/>
                  <a:gd name="connsiteY10" fmla="*/ 175446 h 175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1575" h="175446">
                    <a:moveTo>
                      <a:pt x="0" y="175446"/>
                    </a:moveTo>
                    <a:lnTo>
                      <a:pt x="0" y="0"/>
                    </a:lnTo>
                    <a:lnTo>
                      <a:pt x="56798" y="0"/>
                    </a:lnTo>
                    <a:lnTo>
                      <a:pt x="117057" y="117448"/>
                    </a:lnTo>
                    <a:lnTo>
                      <a:pt x="117057" y="0"/>
                    </a:lnTo>
                    <a:lnTo>
                      <a:pt x="151576" y="0"/>
                    </a:lnTo>
                    <a:lnTo>
                      <a:pt x="151576" y="175446"/>
                    </a:lnTo>
                    <a:lnTo>
                      <a:pt x="96390" y="175446"/>
                    </a:lnTo>
                    <a:lnTo>
                      <a:pt x="34532" y="56418"/>
                    </a:lnTo>
                    <a:lnTo>
                      <a:pt x="34532" y="175446"/>
                    </a:lnTo>
                    <a:lnTo>
                      <a:pt x="0" y="175446"/>
                    </a:lnTo>
                    <a:close/>
                  </a:path>
                </a:pathLst>
              </a:custGeom>
              <a:solidFill>
                <a:srgbClr val="000000"/>
              </a:solidFill>
              <a:ln w="11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E0E9EA63-1C28-4114-8558-9D229E9EC9D3}"/>
                  </a:ext>
                </a:extLst>
              </p:cNvPr>
              <p:cNvSpPr/>
              <p:nvPr/>
            </p:nvSpPr>
            <p:spPr>
              <a:xfrm>
                <a:off x="11652376" y="6418864"/>
                <a:ext cx="134811" cy="182040"/>
              </a:xfrm>
              <a:custGeom>
                <a:avLst/>
                <a:gdLst>
                  <a:gd name="connsiteX0" fmla="*/ 3538 w 134811"/>
                  <a:gd name="connsiteY0" fmla="*/ 175658 h 182040"/>
                  <a:gd name="connsiteX1" fmla="*/ 3538 w 134811"/>
                  <a:gd name="connsiteY1" fmla="*/ 141009 h 182040"/>
                  <a:gd name="connsiteX2" fmla="*/ 55899 w 134811"/>
                  <a:gd name="connsiteY2" fmla="*/ 150320 h 182040"/>
                  <a:gd name="connsiteX3" fmla="*/ 87327 w 134811"/>
                  <a:gd name="connsiteY3" fmla="*/ 133708 h 182040"/>
                  <a:gd name="connsiteX4" fmla="*/ 82888 w 134811"/>
                  <a:gd name="connsiteY4" fmla="*/ 123303 h 182040"/>
                  <a:gd name="connsiteX5" fmla="*/ 58759 w 134811"/>
                  <a:gd name="connsiteY5" fmla="*/ 110903 h 182040"/>
                  <a:gd name="connsiteX6" fmla="*/ 13602 w 134811"/>
                  <a:gd name="connsiteY6" fmla="*/ 86617 h 182040"/>
                  <a:gd name="connsiteX7" fmla="*/ 0 w 134811"/>
                  <a:gd name="connsiteY7" fmla="*/ 53040 h 182040"/>
                  <a:gd name="connsiteX8" fmla="*/ 19826 w 134811"/>
                  <a:gd name="connsiteY8" fmla="*/ 13505 h 182040"/>
                  <a:gd name="connsiteX9" fmla="*/ 70910 w 134811"/>
                  <a:gd name="connsiteY9" fmla="*/ 0 h 182040"/>
                  <a:gd name="connsiteX10" fmla="*/ 116771 w 134811"/>
                  <a:gd name="connsiteY10" fmla="*/ 5640 h 182040"/>
                  <a:gd name="connsiteX11" fmla="*/ 121104 w 134811"/>
                  <a:gd name="connsiteY11" fmla="*/ 6392 h 182040"/>
                  <a:gd name="connsiteX12" fmla="*/ 121104 w 134811"/>
                  <a:gd name="connsiteY12" fmla="*/ 39723 h 182040"/>
                  <a:gd name="connsiteX13" fmla="*/ 75591 w 134811"/>
                  <a:gd name="connsiteY13" fmla="*/ 29967 h 182040"/>
                  <a:gd name="connsiteX14" fmla="*/ 46211 w 134811"/>
                  <a:gd name="connsiteY14" fmla="*/ 46200 h 182040"/>
                  <a:gd name="connsiteX15" fmla="*/ 52141 w 134811"/>
                  <a:gd name="connsiteY15" fmla="*/ 56109 h 182040"/>
                  <a:gd name="connsiteX16" fmla="*/ 79533 w 134811"/>
                  <a:gd name="connsiteY16" fmla="*/ 69249 h 182040"/>
                  <a:gd name="connsiteX17" fmla="*/ 122163 w 134811"/>
                  <a:gd name="connsiteY17" fmla="*/ 94050 h 182040"/>
                  <a:gd name="connsiteX18" fmla="*/ 134812 w 134811"/>
                  <a:gd name="connsiteY18" fmla="*/ 126403 h 182040"/>
                  <a:gd name="connsiteX19" fmla="*/ 110152 w 134811"/>
                  <a:gd name="connsiteY19" fmla="*/ 169904 h 182040"/>
                  <a:gd name="connsiteX20" fmla="*/ 57965 w 134811"/>
                  <a:gd name="connsiteY20" fmla="*/ 182040 h 182040"/>
                  <a:gd name="connsiteX21" fmla="*/ 3538 w 134811"/>
                  <a:gd name="connsiteY21" fmla="*/ 175658 h 182040"/>
                  <a:gd name="connsiteX22" fmla="*/ 3538 w 134811"/>
                  <a:gd name="connsiteY22" fmla="*/ 175658 h 182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4811" h="182040">
                    <a:moveTo>
                      <a:pt x="3538" y="175658"/>
                    </a:moveTo>
                    <a:lnTo>
                      <a:pt x="3538" y="141009"/>
                    </a:lnTo>
                    <a:cubicBezTo>
                      <a:pt x="23092" y="147216"/>
                      <a:pt x="40540" y="150320"/>
                      <a:pt x="55899" y="150320"/>
                    </a:cubicBezTo>
                    <a:cubicBezTo>
                      <a:pt x="76859" y="150320"/>
                      <a:pt x="87327" y="144780"/>
                      <a:pt x="87327" y="133708"/>
                    </a:cubicBezTo>
                    <a:cubicBezTo>
                      <a:pt x="87327" y="129580"/>
                      <a:pt x="85842" y="126112"/>
                      <a:pt x="82888" y="123303"/>
                    </a:cubicBezTo>
                    <a:cubicBezTo>
                      <a:pt x="79745" y="120324"/>
                      <a:pt x="71704" y="116194"/>
                      <a:pt x="58759" y="110903"/>
                    </a:cubicBezTo>
                    <a:cubicBezTo>
                      <a:pt x="35740" y="101488"/>
                      <a:pt x="20669" y="93395"/>
                      <a:pt x="13602" y="86617"/>
                    </a:cubicBezTo>
                    <a:cubicBezTo>
                      <a:pt x="4530" y="77856"/>
                      <a:pt x="0" y="66667"/>
                      <a:pt x="0" y="53040"/>
                    </a:cubicBezTo>
                    <a:cubicBezTo>
                      <a:pt x="0" y="35768"/>
                      <a:pt x="6596" y="22591"/>
                      <a:pt x="19826" y="13505"/>
                    </a:cubicBezTo>
                    <a:cubicBezTo>
                      <a:pt x="32876" y="4499"/>
                      <a:pt x="49914" y="0"/>
                      <a:pt x="70910" y="0"/>
                    </a:cubicBezTo>
                    <a:cubicBezTo>
                      <a:pt x="82715" y="0"/>
                      <a:pt x="98011" y="1874"/>
                      <a:pt x="116771" y="5640"/>
                    </a:cubicBezTo>
                    <a:lnTo>
                      <a:pt x="121104" y="6392"/>
                    </a:lnTo>
                    <a:lnTo>
                      <a:pt x="121104" y="39723"/>
                    </a:lnTo>
                    <a:cubicBezTo>
                      <a:pt x="104808" y="33214"/>
                      <a:pt x="89639" y="29967"/>
                      <a:pt x="75591" y="29967"/>
                    </a:cubicBezTo>
                    <a:cubicBezTo>
                      <a:pt x="55988" y="29967"/>
                      <a:pt x="46211" y="35370"/>
                      <a:pt x="46211" y="46200"/>
                    </a:cubicBezTo>
                    <a:cubicBezTo>
                      <a:pt x="46211" y="50248"/>
                      <a:pt x="48182" y="53550"/>
                      <a:pt x="52141" y="56109"/>
                    </a:cubicBezTo>
                    <a:cubicBezTo>
                      <a:pt x="55286" y="58101"/>
                      <a:pt x="64416" y="62479"/>
                      <a:pt x="79533" y="69249"/>
                    </a:cubicBezTo>
                    <a:cubicBezTo>
                      <a:pt x="100778" y="78756"/>
                      <a:pt x="115000" y="87021"/>
                      <a:pt x="122163" y="94050"/>
                    </a:cubicBezTo>
                    <a:cubicBezTo>
                      <a:pt x="130601" y="102389"/>
                      <a:pt x="134812" y="113178"/>
                      <a:pt x="134812" y="126403"/>
                    </a:cubicBezTo>
                    <a:cubicBezTo>
                      <a:pt x="134812" y="145412"/>
                      <a:pt x="126592" y="159913"/>
                      <a:pt x="110152" y="169904"/>
                    </a:cubicBezTo>
                    <a:cubicBezTo>
                      <a:pt x="96686" y="178006"/>
                      <a:pt x="79283" y="182040"/>
                      <a:pt x="57965" y="182040"/>
                    </a:cubicBezTo>
                    <a:cubicBezTo>
                      <a:pt x="39940" y="182041"/>
                      <a:pt x="21790" y="179921"/>
                      <a:pt x="3538" y="175658"/>
                    </a:cubicBezTo>
                    <a:lnTo>
                      <a:pt x="3538" y="175658"/>
                    </a:lnTo>
                    <a:close/>
                  </a:path>
                </a:pathLst>
              </a:custGeom>
              <a:solidFill>
                <a:srgbClr val="000000"/>
              </a:solidFill>
              <a:ln w="114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2" name="Footer Placeholder">
            <a:extLst>
              <a:ext uri="{FF2B5EF4-FFF2-40B4-BE49-F238E27FC236}">
                <a16:creationId xmlns:a16="http://schemas.microsoft.com/office/drawing/2014/main" id="{66A2F9B3-0A09-4347-94E9-CBF8D221C3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 © Siemens </a:t>
            </a:r>
            <a:fld id="{9EEB68A6-4AAC-4290-9F78-99839047063B}" type="datetimeyyyy">
              <a:rPr lang="en-US" smtClean="0"/>
              <a:pPr/>
              <a:t>2023</a:t>
            </a:fld>
            <a:endParaRPr lang="en-US" dirty="0"/>
          </a:p>
        </p:txBody>
      </p:sp>
      <p:sp>
        <p:nvSpPr>
          <p:cNvPr id="43" name="Slide Number Placeholder">
            <a:extLst>
              <a:ext uri="{FF2B5EF4-FFF2-40B4-BE49-F238E27FC236}">
                <a16:creationId xmlns:a16="http://schemas.microsoft.com/office/drawing/2014/main" id="{B7CE9D6D-729A-4086-B4B3-883321C33F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4" name="Title Placeholder">
            <a:extLst>
              <a:ext uri="{FF2B5EF4-FFF2-40B4-BE49-F238E27FC236}">
                <a16:creationId xmlns:a16="http://schemas.microsoft.com/office/drawing/2014/main" id="{0850A9CB-B4F0-4314-815C-9308D3DCC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435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orient="horz" pos="890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2228">
          <p15:clr>
            <a:srgbClr val="FBAE40"/>
          </p15:clr>
        </p15:guide>
        <p15:guide id="5" orient="horz" pos="2319">
          <p15:clr>
            <a:srgbClr val="FBAE40"/>
          </p15:clr>
        </p15:guide>
        <p15:guide id="6" orient="horz" pos="3657">
          <p15:clr>
            <a:srgbClr val="FBAE40"/>
          </p15:clr>
        </p15:guide>
        <p15:guide id="7" orient="horz" pos="3881">
          <p15:clr>
            <a:srgbClr val="FBAE40"/>
          </p15:clr>
        </p15:guide>
        <p15:guide id="8" orient="horz" pos="4156">
          <p15:clr>
            <a:srgbClr val="FBAE40"/>
          </p15:clr>
        </p15:guide>
        <p15:guide id="9" pos="3885">
          <p15:clr>
            <a:srgbClr val="FBAE40"/>
          </p15:clr>
        </p15:guide>
        <p15:guide id="10" pos="6471">
          <p15:clr>
            <a:srgbClr val="FBAE40"/>
          </p15:clr>
        </p15:guide>
        <p15:guide id="11" pos="7423">
          <p15:clr>
            <a:srgbClr val="FBAE40"/>
          </p15:clr>
        </p15:guide>
        <p15:guide id="12" pos="257">
          <p15:clr>
            <a:srgbClr val="FBAE40"/>
          </p15:clr>
        </p15:guide>
        <p15:guide id="13" orient="horz" pos="30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84B8F4-4EA0-EAAA-DF2A-D58B8DCDA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BFB99C-74C4-35D5-F635-4E1AD0234A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6B17AB-9007-736C-DA2B-859A0FFC6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F5053-C19A-4357-9890-FB17FFEC893C}" type="datetimeFigureOut">
              <a:rPr lang="de-DE" smtClean="0"/>
              <a:t>09.06.202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79EC2A-9A39-B685-5C60-9A8D8AA64D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71D1A3-A211-282D-4976-C622C0416E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5CAAC-2C55-4EA6-95A1-32D72592A63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90311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0FBCF0-FE43-A098-1F8E-0582B74CE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BC676C-1ACE-D847-DEB8-3C21A86503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EF3B06-8F5B-DD16-75F3-91B7FCFC9C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F5053-C19A-4357-9890-FB17FFEC893C}" type="datetimeFigureOut">
              <a:rPr lang="de-DE" smtClean="0"/>
              <a:t>09.06.202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6EB9CE-C668-0E51-BD35-A7F9EF9647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6D3C54-C61D-F47B-B255-F24E94107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5CAAC-2C55-4EA6-95A1-32D72592A63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43709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9B1D7D-6FA6-5489-3990-DBAFB78D9B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A151A3-2972-89D6-B9E8-A518A26649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23C69F-8961-FF5D-99C7-1F0944537B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400267-A7FA-8771-B72B-BDB8C89B67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F5053-C19A-4357-9890-FB17FFEC893C}" type="datetimeFigureOut">
              <a:rPr lang="de-DE" smtClean="0"/>
              <a:t>09.06.2023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4FE76E-A9E8-2727-ECCD-B60C8F385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7E0310-31F7-F4DD-0ECE-B2DBB8C798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5CAAC-2C55-4EA6-95A1-32D72592A63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24669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6A9F3-2E3E-7F9F-AE06-B383F31EF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2A90FA-CE5B-1478-2FBA-EEA743C24B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865E2B-6663-5B0D-C457-9073DCB2E6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8B7C33-AED3-F08D-881A-3CAE1E96EA0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25AD713-C00F-84AD-657C-1147F48FF88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5F459D3-D30F-5308-9A5B-E60E3C424D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F5053-C19A-4357-9890-FB17FFEC893C}" type="datetimeFigureOut">
              <a:rPr lang="de-DE" smtClean="0"/>
              <a:t>09.06.2023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2BC98B5-5EA2-D0C4-2BB8-21D60C7E9B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B9A4198-FC64-AE34-7D2E-54C9E940CC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5CAAC-2C55-4EA6-95A1-32D72592A63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8702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E4881-77F8-4A43-C81F-E9967B92D4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DFBDF3-DC61-9853-FA16-5F4234207F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F5053-C19A-4357-9890-FB17FFEC893C}" type="datetimeFigureOut">
              <a:rPr lang="de-DE" smtClean="0"/>
              <a:t>09.06.2023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F8F27F-8C55-C8F8-1C7C-261C09158E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B6ED38-4C88-75D6-D1A8-1B74686E6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5CAAC-2C55-4EA6-95A1-32D72592A63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25790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620DDE2-D48D-8721-4C14-EA3B46007F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F5053-C19A-4357-9890-FB17FFEC893C}" type="datetimeFigureOut">
              <a:rPr lang="de-DE" smtClean="0"/>
              <a:t>09.06.2023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07A64A-52DD-FC64-AFA7-A2A4D979C8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E4C9E6-F826-A726-A5F0-C5D94F31E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5CAAC-2C55-4EA6-95A1-32D72592A63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54349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A7BE40-3FDE-1183-A90D-88B19C4AE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BD2D55-512A-8208-614C-B6D6E68592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4E03F4-5598-2F1F-F1F9-658D3742A5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868282-B202-6B12-D4B1-ABB212E01A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F5053-C19A-4357-9890-FB17FFEC893C}" type="datetimeFigureOut">
              <a:rPr lang="de-DE" smtClean="0"/>
              <a:t>09.06.2023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C469BE-6DA1-6878-E0F7-89D43D5F05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3BDAC-3C07-499B-A757-E9BF0BA20C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5CAAC-2C55-4EA6-95A1-32D72592A63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9483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2691D9-1B0B-738B-1459-4C9543DB66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BF7506C-BF52-953C-EFFF-163C06D8D3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B68968-4609-CA78-7793-E747E08E09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44166D-73CF-E8EA-D04C-A917C0B53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F5053-C19A-4357-9890-FB17FFEC893C}" type="datetimeFigureOut">
              <a:rPr lang="de-DE" smtClean="0"/>
              <a:t>09.06.2023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562C64-22AA-54C7-0E8C-0127F152FC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EAFAD6-78A9-F5D7-9812-02B5CACADD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5CAAC-2C55-4EA6-95A1-32D72592A63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79773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77CE7F8-986C-4E87-3F35-FAA491A91E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1C2ABC-7CB0-95D5-CEAD-57907C370F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39A5AA-36E2-431E-8A69-5AFE6725C3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CF5053-C19A-4357-9890-FB17FFEC893C}" type="datetimeFigureOut">
              <a:rPr lang="de-DE" smtClean="0"/>
              <a:t>09.06.202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DC2046-373A-7903-873C-794A91A981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A44674-92EF-3CA8-2703-044C1A8778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F5CAAC-2C55-4EA6-95A1-32D72592A63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2830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17F513E1-EA99-6E94-6BFE-2EAF649B1F1F}"/>
              </a:ext>
            </a:extLst>
          </p:cNvPr>
          <p:cNvSpPr txBox="1">
            <a:spLocks/>
          </p:cNvSpPr>
          <p:nvPr/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US" sz="90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Armin Hadzalic © Data-Science Meetup </a:t>
            </a:r>
            <a:fld id="{9EEB68A6-4AAC-4290-9F78-99839047063B}" type="datetimeyyyy">
              <a:rPr lang="en-US" sz="90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pPr fontAlgn="base">
                <a:spcAft>
                  <a:spcPct val="0"/>
                </a:spcAft>
                <a:defRPr/>
              </a:pPr>
              <a:t>2023</a:t>
            </a:fld>
            <a:endParaRPr lang="en-US" sz="900" dirty="0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9C71E05A-97BE-158A-4FA1-1C0E00ECB955}"/>
              </a:ext>
            </a:extLst>
          </p:cNvPr>
          <p:cNvSpPr txBox="1">
            <a:spLocks/>
          </p:cNvSpPr>
          <p:nvPr/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US" sz="900" b="1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Page </a:t>
            </a:r>
            <a:fld id="{15EBE321-CBB1-4E91-BD14-37C8D44326FB}" type="slidenum">
              <a:rPr lang="en-US" sz="900" b="1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pPr fontAlgn="base">
                <a:spcAft>
                  <a:spcPct val="0"/>
                </a:spcAft>
                <a:defRPr/>
              </a:pPr>
              <a:t>1</a:t>
            </a:fld>
            <a:endParaRPr lang="en-US" sz="900" b="1" dirty="0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69A44266-B93D-39C9-B942-E20F95537952}"/>
              </a:ext>
            </a:extLst>
          </p:cNvPr>
          <p:cNvSpPr txBox="1">
            <a:spLocks/>
          </p:cNvSpPr>
          <p:nvPr/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wrap="square" lIns="0" tIns="0" rIns="324000" bIns="1440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hatGPT plugin structure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9E5D3E3-92A8-55C2-BD74-B81E9E282624}"/>
              </a:ext>
            </a:extLst>
          </p:cNvPr>
          <p:cNvSpPr txBox="1"/>
          <p:nvPr/>
        </p:nvSpPr>
        <p:spPr>
          <a:xfrm>
            <a:off x="932774" y="1656838"/>
            <a:ext cx="3343662" cy="15851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Ingredients:</a:t>
            </a:r>
          </a:p>
          <a:p>
            <a:pPr marL="0" marR="0" lvl="0" indent="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REST API</a:t>
            </a: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manifest file</a:t>
            </a: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YAML file</a:t>
            </a: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program entry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318CAB2-415F-2DB8-59D0-E770B47A764E}"/>
              </a:ext>
            </a:extLst>
          </p:cNvPr>
          <p:cNvSpPr txBox="1"/>
          <p:nvPr/>
        </p:nvSpPr>
        <p:spPr>
          <a:xfrm>
            <a:off x="932773" y="3605709"/>
            <a:ext cx="4506002" cy="14558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Instruct GPT in </a:t>
            </a:r>
            <a:r>
              <a:rPr lang="en-US" sz="1600" b="1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YAML</a:t>
            </a: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on how to use your plugin</a:t>
            </a:r>
          </a:p>
          <a:p>
            <a:pPr marL="0" marR="0" lvl="0" indent="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Define paths</a:t>
            </a: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Summary field</a:t>
            </a: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Description field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DD56F76-B0DD-7C2F-F5E9-A8A026FF03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7160" y="1054800"/>
            <a:ext cx="5746329" cy="468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8517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>
            <a:extLst>
              <a:ext uri="{FF2B5EF4-FFF2-40B4-BE49-F238E27FC236}">
                <a16:creationId xmlns:a16="http://schemas.microsoft.com/office/drawing/2014/main" id="{DB4EE73F-43B9-8EE1-9528-CEF54C1ABB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9" name="Object 48" hidden="1">
                        <a:extLst>
                          <a:ext uri="{FF2B5EF4-FFF2-40B4-BE49-F238E27FC236}">
                            <a16:creationId xmlns:a16="http://schemas.microsoft.com/office/drawing/2014/main" id="{DB4EE73F-43B9-8EE1-9528-CEF54C1AB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9ACAC64-5179-FD97-1716-07FAE0F30D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rmin Hadzalic © Data-Science Meetup </a:t>
            </a:r>
            <a:fld id="{9EEB68A6-4AAC-4290-9F78-99839047063B}" type="datetimeyyyy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7A08FC-37DE-11D5-2A27-615FD20DAB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Page </a:t>
            </a:r>
            <a:fld id="{15EBE321-CBB1-4E91-BD14-37C8D44326FB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AB72AA9F-391C-F471-5643-508779B8C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wrap="square" lIns="0" tIns="0" rIns="324000" bIns="14400" anchor="t" anchorCtr="0">
            <a:noAutofit/>
          </a:bodyPr>
          <a:lstStyle/>
          <a:p>
            <a:r>
              <a:rPr lang="en-US"/>
              <a:t>ChatGPT plugin structure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BCE87E-913E-BD3E-EB6E-C4DECE21AD29}"/>
              </a:ext>
            </a:extLst>
          </p:cNvPr>
          <p:cNvSpPr txBox="1"/>
          <p:nvPr/>
        </p:nvSpPr>
        <p:spPr>
          <a:xfrm>
            <a:off x="932774" y="1656838"/>
            <a:ext cx="3343662" cy="15851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Ingredients:</a:t>
            </a:r>
          </a:p>
          <a:p>
            <a:pPr marL="0" marR="0" lvl="0" indent="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REST API</a:t>
            </a: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manifest file</a:t>
            </a: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YAML file</a:t>
            </a: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program entry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7131E1-077F-739D-969C-37C70E53E7E4}"/>
              </a:ext>
            </a:extLst>
          </p:cNvPr>
          <p:cNvSpPr txBox="1"/>
          <p:nvPr/>
        </p:nvSpPr>
        <p:spPr>
          <a:xfrm>
            <a:off x="932773" y="3605709"/>
            <a:ext cx="4506002" cy="14558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Instruct GPT in </a:t>
            </a:r>
            <a:r>
              <a:rPr lang="en-US" sz="1600" b="1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YAML</a:t>
            </a: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on how to use your plugin</a:t>
            </a:r>
          </a:p>
          <a:p>
            <a:pPr marL="0" marR="0" lvl="0" indent="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Define paths</a:t>
            </a: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Summary field</a:t>
            </a: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Description field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3744C28-9C42-2E37-8A65-607131AA22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67160" y="1054800"/>
            <a:ext cx="5746329" cy="468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319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>
            <a:extLst>
              <a:ext uri="{FF2B5EF4-FFF2-40B4-BE49-F238E27FC236}">
                <a16:creationId xmlns:a16="http://schemas.microsoft.com/office/drawing/2014/main" id="{DB4EE73F-43B9-8EE1-9528-CEF54C1ABB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9" name="Object 48" hidden="1">
                        <a:extLst>
                          <a:ext uri="{FF2B5EF4-FFF2-40B4-BE49-F238E27FC236}">
                            <a16:creationId xmlns:a16="http://schemas.microsoft.com/office/drawing/2014/main" id="{DB4EE73F-43B9-8EE1-9528-CEF54C1AB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9ACAC64-5179-FD97-1716-07FAE0F30D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rmin Hadzalic © Data-Science Meetup </a:t>
            </a:r>
            <a:fld id="{9EEB68A6-4AAC-4290-9F78-99839047063B}" type="datetimeyyyy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7A08FC-37DE-11D5-2A27-615FD20DAB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Page </a:t>
            </a:r>
            <a:fld id="{15EBE321-CBB1-4E91-BD14-37C8D44326FB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AB72AA9F-391C-F471-5643-508779B8C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wrap="square" lIns="0" tIns="0" rIns="324000" bIns="14400" anchor="t" anchorCtr="0">
            <a:noAutofit/>
          </a:bodyPr>
          <a:lstStyle/>
          <a:p>
            <a:r>
              <a:rPr lang="en-US"/>
              <a:t>ChatGPT plugin “main.py”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BCE87E-913E-BD3E-EB6E-C4DECE21AD29}"/>
              </a:ext>
            </a:extLst>
          </p:cNvPr>
          <p:cNvSpPr txBox="1"/>
          <p:nvPr/>
        </p:nvSpPr>
        <p:spPr>
          <a:xfrm>
            <a:off x="932774" y="1656838"/>
            <a:ext cx="3343662" cy="15851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Responsibilities:</a:t>
            </a:r>
          </a:p>
          <a:p>
            <a:pPr marL="0" marR="0" lvl="0" indent="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Path to the logo</a:t>
            </a: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Path to manifest file</a:t>
            </a: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Path to YAML file</a:t>
            </a: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Your methods / functions</a:t>
            </a:r>
          </a:p>
          <a:p>
            <a:pPr marL="0" marR="0" lvl="0" indent="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DF99CC6-0CC1-70AB-B2CB-09667BAE67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31176" y="1054800"/>
            <a:ext cx="5591175" cy="4276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7985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>
            <a:extLst>
              <a:ext uri="{FF2B5EF4-FFF2-40B4-BE49-F238E27FC236}">
                <a16:creationId xmlns:a16="http://schemas.microsoft.com/office/drawing/2014/main" id="{DB4EE73F-43B9-8EE1-9528-CEF54C1ABB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9" name="Object 48" hidden="1">
                        <a:extLst>
                          <a:ext uri="{FF2B5EF4-FFF2-40B4-BE49-F238E27FC236}">
                            <a16:creationId xmlns:a16="http://schemas.microsoft.com/office/drawing/2014/main" id="{DB4EE73F-43B9-8EE1-9528-CEF54C1AB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9ACAC64-5179-FD97-1716-07FAE0F30D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rmin Hadzalic © Data-Science Meetup </a:t>
            </a:r>
            <a:fld id="{9EEB68A6-4AAC-4290-9F78-99839047063B}" type="datetimeyyyy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7A08FC-37DE-11D5-2A27-615FD20DAB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Page </a:t>
            </a:r>
            <a:fld id="{15EBE321-CBB1-4E91-BD14-37C8D44326FB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AB72AA9F-391C-F471-5643-508779B8C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wrap="square" lIns="0" tIns="0" rIns="324000" bIns="14400" anchor="t" anchorCtr="0">
            <a:noAutofit/>
          </a:bodyPr>
          <a:lstStyle/>
          <a:p>
            <a:r>
              <a:rPr lang="en-US"/>
              <a:t>ChatGPT plugin “main.py”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BCE87E-913E-BD3E-EB6E-C4DECE21AD29}"/>
              </a:ext>
            </a:extLst>
          </p:cNvPr>
          <p:cNvSpPr txBox="1"/>
          <p:nvPr/>
        </p:nvSpPr>
        <p:spPr>
          <a:xfrm>
            <a:off x="932774" y="1656837"/>
            <a:ext cx="3343662" cy="22870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Your domain logic:</a:t>
            </a:r>
          </a:p>
          <a:p>
            <a:pPr marL="0" marR="0" lvl="0" indent="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600">
              <a:solidFill>
                <a:srgbClr val="000000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Define the Host-URL</a:t>
            </a: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dapt the variable input</a:t>
            </a: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Send the request</a:t>
            </a: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Get the response</a:t>
            </a:r>
          </a:p>
          <a:p>
            <a:pPr marL="285750" marR="0" lvl="0" indent="-28575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Do the extraction, if needed</a:t>
            </a:r>
          </a:p>
          <a:p>
            <a:pPr marL="0" marR="0" lvl="0" indent="0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21979EC-186C-CE67-52DA-A280F137D0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61637" y="846062"/>
            <a:ext cx="6639235" cy="4566040"/>
          </a:xfrm>
          <a:prstGeom prst="rect">
            <a:avLst/>
          </a:prstGeom>
        </p:spPr>
      </p:pic>
      <p:sp>
        <p:nvSpPr>
          <p:cNvPr id="11" name="Ellipse 36">
            <a:extLst>
              <a:ext uri="{FF2B5EF4-FFF2-40B4-BE49-F238E27FC236}">
                <a16:creationId xmlns:a16="http://schemas.microsoft.com/office/drawing/2014/main" id="{6E98D2C2-92DD-07C5-3F49-CF6918B6E8D5}"/>
              </a:ext>
            </a:extLst>
          </p:cNvPr>
          <p:cNvSpPr/>
          <p:nvPr/>
        </p:nvSpPr>
        <p:spPr bwMode="auto">
          <a:xfrm>
            <a:off x="4818688" y="3171581"/>
            <a:ext cx="432000" cy="432060"/>
          </a:xfrm>
          <a:prstGeom prst="ellipse">
            <a:avLst/>
          </a:prstGeom>
          <a:solidFill>
            <a:srgbClr val="FFE178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2</a:t>
            </a:r>
            <a:endParaRPr lang="de-DE" sz="1800" b="1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Ellipse 36">
            <a:extLst>
              <a:ext uri="{FF2B5EF4-FFF2-40B4-BE49-F238E27FC236}">
                <a16:creationId xmlns:a16="http://schemas.microsoft.com/office/drawing/2014/main" id="{0308CFBA-B34E-82FA-9AB8-C69D9B7722D9}"/>
              </a:ext>
            </a:extLst>
          </p:cNvPr>
          <p:cNvSpPr/>
          <p:nvPr/>
        </p:nvSpPr>
        <p:spPr bwMode="auto">
          <a:xfrm>
            <a:off x="4492508" y="1006274"/>
            <a:ext cx="432000" cy="432060"/>
          </a:xfrm>
          <a:prstGeom prst="ellipse">
            <a:avLst/>
          </a:prstGeom>
          <a:solidFill>
            <a:srgbClr val="FFE178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1</a:t>
            </a:r>
            <a:endParaRPr lang="de-DE" sz="1800" b="1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Ellipse 36">
            <a:extLst>
              <a:ext uri="{FF2B5EF4-FFF2-40B4-BE49-F238E27FC236}">
                <a16:creationId xmlns:a16="http://schemas.microsoft.com/office/drawing/2014/main" id="{324AAFAF-63D3-596C-E16A-131CCABAF580}"/>
              </a:ext>
            </a:extLst>
          </p:cNvPr>
          <p:cNvSpPr/>
          <p:nvPr/>
        </p:nvSpPr>
        <p:spPr bwMode="auto">
          <a:xfrm>
            <a:off x="4818688" y="4081680"/>
            <a:ext cx="432000" cy="432060"/>
          </a:xfrm>
          <a:prstGeom prst="ellipse">
            <a:avLst/>
          </a:prstGeom>
          <a:solidFill>
            <a:srgbClr val="FFE178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3</a:t>
            </a:r>
            <a:endParaRPr lang="de-DE" sz="1800" b="1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1ABF772-C2F8-721E-73E9-D51BB7A90BAA}"/>
              </a:ext>
            </a:extLst>
          </p:cNvPr>
          <p:cNvGrpSpPr/>
          <p:nvPr/>
        </p:nvGrpSpPr>
        <p:grpSpPr>
          <a:xfrm>
            <a:off x="8575023" y="3347853"/>
            <a:ext cx="2164588" cy="292639"/>
            <a:chOff x="4591050" y="5534165"/>
            <a:chExt cx="2164588" cy="292639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96CC1715-5921-72A7-AE2E-F9A56F5D4B0A}"/>
                </a:ext>
              </a:extLst>
            </p:cNvPr>
            <p:cNvSpPr/>
            <p:nvPr/>
          </p:nvSpPr>
          <p:spPr bwMode="auto">
            <a:xfrm>
              <a:off x="4591050" y="5534165"/>
              <a:ext cx="659638" cy="292639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44000"/>
              </a:schemeClr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108000" tIns="54000" rIns="108000" bIns="54000" numCol="1" spcCol="72000" rtlCol="0" anchor="t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400" dirty="0">
                <a:solidFill>
                  <a:schemeClr val="bg1"/>
                </a:solidFill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DF44B722-FA9F-45D0-8A2B-5AFF843E3831}"/>
                </a:ext>
              </a:extLst>
            </p:cNvPr>
            <p:cNvSpPr/>
            <p:nvPr/>
          </p:nvSpPr>
          <p:spPr bwMode="auto">
            <a:xfrm>
              <a:off x="6096000" y="5534165"/>
              <a:ext cx="659638" cy="292639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  <a:alpha val="44000"/>
              </a:schemeClr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108000" tIns="54000" rIns="108000" bIns="54000" numCol="1" spcCol="72000" rtlCol="0" anchor="t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400" dirty="0">
                <a:solidFill>
                  <a:schemeClr val="bg1"/>
                </a:solidFill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9650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6</Words>
  <Application>Microsoft Office PowerPoint</Application>
  <PresentationFormat>Widescreen</PresentationFormat>
  <Paragraphs>51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Calibri Light</vt:lpstr>
      <vt:lpstr>Wingdings</vt:lpstr>
      <vt:lpstr>Office Theme</vt:lpstr>
      <vt:lpstr>think-cell Slide</vt:lpstr>
      <vt:lpstr>PowerPoint Presentation</vt:lpstr>
      <vt:lpstr>ChatGPT plugin structure</vt:lpstr>
      <vt:lpstr>ChatGPT plugin “main.py”</vt:lpstr>
      <vt:lpstr>ChatGPT plugin “main.py”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dzalic, Armin (DI FA CTR EE PRC2)</dc:creator>
  <cp:lastModifiedBy>Hadzalic, Armin (DI FA CTR EE PRC2)</cp:lastModifiedBy>
  <cp:revision>2</cp:revision>
  <dcterms:created xsi:type="dcterms:W3CDTF">2023-06-08T23:12:11Z</dcterms:created>
  <dcterms:modified xsi:type="dcterms:W3CDTF">2023-06-08T23:1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d258917-277f-42cd-a3cd-14c4e9ee58bc_Enabled">
    <vt:lpwstr>true</vt:lpwstr>
  </property>
  <property fmtid="{D5CDD505-2E9C-101B-9397-08002B2CF9AE}" pid="3" name="MSIP_Label_9d258917-277f-42cd-a3cd-14c4e9ee58bc_SetDate">
    <vt:lpwstr>2023-06-08T23:13:27Z</vt:lpwstr>
  </property>
  <property fmtid="{D5CDD505-2E9C-101B-9397-08002B2CF9AE}" pid="4" name="MSIP_Label_9d258917-277f-42cd-a3cd-14c4e9ee58bc_Method">
    <vt:lpwstr>Standard</vt:lpwstr>
  </property>
  <property fmtid="{D5CDD505-2E9C-101B-9397-08002B2CF9AE}" pid="5" name="MSIP_Label_9d258917-277f-42cd-a3cd-14c4e9ee58bc_Name">
    <vt:lpwstr>restricted</vt:lpwstr>
  </property>
  <property fmtid="{D5CDD505-2E9C-101B-9397-08002B2CF9AE}" pid="6" name="MSIP_Label_9d258917-277f-42cd-a3cd-14c4e9ee58bc_SiteId">
    <vt:lpwstr>38ae3bcd-9579-4fd4-adda-b42e1495d55a</vt:lpwstr>
  </property>
  <property fmtid="{D5CDD505-2E9C-101B-9397-08002B2CF9AE}" pid="7" name="MSIP_Label_9d258917-277f-42cd-a3cd-14c4e9ee58bc_ActionId">
    <vt:lpwstr>ada8bf33-698c-4973-963c-c39720279f97</vt:lpwstr>
  </property>
  <property fmtid="{D5CDD505-2E9C-101B-9397-08002B2CF9AE}" pid="8" name="MSIP_Label_9d258917-277f-42cd-a3cd-14c4e9ee58bc_ContentBits">
    <vt:lpwstr>0</vt:lpwstr>
  </property>
  <property fmtid="{D5CDD505-2E9C-101B-9397-08002B2CF9AE}" pid="9" name="Document_Confidentiality">
    <vt:lpwstr>Restricted</vt:lpwstr>
  </property>
</Properties>
</file>